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4"/>
  </p:sldMasterIdLst>
  <p:notesMasterIdLst>
    <p:notesMasterId r:id="rId20"/>
  </p:notesMasterIdLst>
  <p:handoutMasterIdLst>
    <p:handoutMasterId r:id="rId21"/>
  </p:handoutMasterIdLst>
  <p:sldIdLst>
    <p:sldId id="262" r:id="rId5"/>
    <p:sldId id="306" r:id="rId6"/>
    <p:sldId id="283" r:id="rId7"/>
    <p:sldId id="280" r:id="rId8"/>
    <p:sldId id="286" r:id="rId9"/>
    <p:sldId id="285" r:id="rId10"/>
    <p:sldId id="290" r:id="rId11"/>
    <p:sldId id="302" r:id="rId12"/>
    <p:sldId id="301" r:id="rId13"/>
    <p:sldId id="292" r:id="rId14"/>
    <p:sldId id="293" r:id="rId15"/>
    <p:sldId id="307" r:id="rId16"/>
    <p:sldId id="308" r:id="rId17"/>
    <p:sldId id="309" r:id="rId18"/>
    <p:sldId id="304" r:id="rId19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9E11AFDA-838E-41F4-8ED9-B73D1EE83EB6}">
          <p14:sldIdLst>
            <p14:sldId id="262"/>
          </p14:sldIdLst>
        </p14:section>
        <p14:section name="Section sans titre" id="{91525DF4-5C24-4C0A-BDA1-CF58A8776F7A}">
          <p14:sldIdLst>
            <p14:sldId id="306"/>
            <p14:sldId id="283"/>
            <p14:sldId id="280"/>
            <p14:sldId id="286"/>
            <p14:sldId id="285"/>
            <p14:sldId id="290"/>
            <p14:sldId id="302"/>
            <p14:sldId id="301"/>
            <p14:sldId id="292"/>
            <p14:sldId id="293"/>
            <p14:sldId id="307"/>
            <p14:sldId id="308"/>
            <p14:sldId id="309"/>
            <p14:sldId id="304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42F1A7D-1D72-46A9-99C9-5251223993C4}" v="6" dt="2024-06-26T16:03:23.46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02" autoAdjust="0"/>
    <p:restoredTop sz="69165" autoAdjust="0"/>
  </p:normalViewPr>
  <p:slideViewPr>
    <p:cSldViewPr snapToGrid="0" snapToObjects="1" showGuides="1">
      <p:cViewPr varScale="1">
        <p:scale>
          <a:sx n="44" d="100"/>
          <a:sy n="44" d="100"/>
        </p:scale>
        <p:origin x="1560" y="44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45" d="100"/>
          <a:sy n="45" d="100"/>
        </p:scale>
        <p:origin x="2836" y="60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28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Relationship Id="rId27" Type="http://schemas.microsoft.com/office/2016/11/relationships/changesInfo" Target="changesInfos/changesInfo1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OILLOT Pierre" userId="394685f5-d138-4af8-9aa4-6b856b200155" providerId="ADAL" clId="{2F50E197-EE7B-4745-A4EC-797DA2B2CC70}"/>
    <pc:docChg chg="undo redo custSel addSld delSld modSld addMainMaster delMainMaster modMainMaster addSection">
      <pc:chgData name="BOILLOT Pierre" userId="394685f5-d138-4af8-9aa4-6b856b200155" providerId="ADAL" clId="{2F50E197-EE7B-4745-A4EC-797DA2B2CC70}" dt="2024-06-13T12:49:14.537" v="206" actId="1076"/>
      <pc:docMkLst>
        <pc:docMk/>
      </pc:docMkLst>
      <pc:sldChg chg="addSp modSp">
        <pc:chgData name="BOILLOT Pierre" userId="394685f5-d138-4af8-9aa4-6b856b200155" providerId="ADAL" clId="{2F50E197-EE7B-4745-A4EC-797DA2B2CC70}" dt="2024-06-13T12:49:14.537" v="206" actId="1076"/>
        <pc:sldMkLst>
          <pc:docMk/>
          <pc:sldMk cId="2180989171" sldId="262"/>
        </pc:sldMkLst>
        <pc:picChg chg="add mod">
          <ac:chgData name="BOILLOT Pierre" userId="394685f5-d138-4af8-9aa4-6b856b200155" providerId="ADAL" clId="{2F50E197-EE7B-4745-A4EC-797DA2B2CC70}" dt="2024-06-13T12:49:14.537" v="206" actId="1076"/>
          <ac:picMkLst>
            <pc:docMk/>
            <pc:sldMk cId="2180989171" sldId="262"/>
            <ac:picMk id="1026" creationId="{7762457F-4390-1848-45D0-312E1ADC1E72}"/>
          </ac:picMkLst>
        </pc:picChg>
      </pc:sldChg>
      <pc:sldChg chg="delSp modSp mod modClrScheme chgLayout">
        <pc:chgData name="BOILLOT Pierre" userId="394685f5-d138-4af8-9aa4-6b856b200155" providerId="ADAL" clId="{2F50E197-EE7B-4745-A4EC-797DA2B2CC70}" dt="2024-06-13T09:02:20.672" v="165" actId="700"/>
        <pc:sldMkLst>
          <pc:docMk/>
          <pc:sldMk cId="2884910357" sldId="304"/>
        </pc:sldMkLst>
        <pc:spChg chg="del">
          <ac:chgData name="BOILLOT Pierre" userId="394685f5-d138-4af8-9aa4-6b856b200155" providerId="ADAL" clId="{2F50E197-EE7B-4745-A4EC-797DA2B2CC70}" dt="2024-06-13T09:02:20.672" v="165" actId="700"/>
          <ac:spMkLst>
            <pc:docMk/>
            <pc:sldMk cId="2884910357" sldId="304"/>
            <ac:spMk id="3" creationId="{00000000-0000-0000-0000-000000000000}"/>
          </ac:spMkLst>
        </pc:spChg>
        <pc:spChg chg="mod">
          <ac:chgData name="BOILLOT Pierre" userId="394685f5-d138-4af8-9aa4-6b856b200155" providerId="ADAL" clId="{2F50E197-EE7B-4745-A4EC-797DA2B2CC70}" dt="2024-06-13T08:50:29.196" v="25"/>
          <ac:spMkLst>
            <pc:docMk/>
            <pc:sldMk cId="2884910357" sldId="304"/>
            <ac:spMk id="7" creationId="{00000000-0000-0000-0000-000000000000}"/>
          </ac:spMkLst>
        </pc:spChg>
        <pc:spChg chg="mod ord">
          <ac:chgData name="BOILLOT Pierre" userId="394685f5-d138-4af8-9aa4-6b856b200155" providerId="ADAL" clId="{2F50E197-EE7B-4745-A4EC-797DA2B2CC70}" dt="2024-06-13T09:02:20.672" v="165" actId="700"/>
          <ac:spMkLst>
            <pc:docMk/>
            <pc:sldMk cId="2884910357" sldId="304"/>
            <ac:spMk id="8" creationId="{00000000-0000-0000-0000-000000000000}"/>
          </ac:spMkLst>
        </pc:spChg>
      </pc:sldChg>
      <pc:sldChg chg="modSp mod modClrScheme chgLayout">
        <pc:chgData name="BOILLOT Pierre" userId="394685f5-d138-4af8-9aa4-6b856b200155" providerId="ADAL" clId="{2F50E197-EE7B-4745-A4EC-797DA2B2CC70}" dt="2024-06-13T12:46:04.851" v="203" actId="20577"/>
        <pc:sldMkLst>
          <pc:docMk/>
          <pc:sldMk cId="2569779760" sldId="306"/>
        </pc:sldMkLst>
        <pc:spChg chg="mod ord">
          <ac:chgData name="BOILLOT Pierre" userId="394685f5-d138-4af8-9aa4-6b856b200155" providerId="ADAL" clId="{2F50E197-EE7B-4745-A4EC-797DA2B2CC70}" dt="2024-06-13T08:49:40.541" v="22" actId="700"/>
          <ac:spMkLst>
            <pc:docMk/>
            <pc:sldMk cId="2569779760" sldId="306"/>
            <ac:spMk id="3" creationId="{00000000-0000-0000-0000-000000000000}"/>
          </ac:spMkLst>
        </pc:spChg>
        <pc:spChg chg="mod ord">
          <ac:chgData name="BOILLOT Pierre" userId="394685f5-d138-4af8-9aa4-6b856b200155" providerId="ADAL" clId="{2F50E197-EE7B-4745-A4EC-797DA2B2CC70}" dt="2024-06-13T12:46:04.851" v="203" actId="20577"/>
          <ac:spMkLst>
            <pc:docMk/>
            <pc:sldMk cId="2569779760" sldId="306"/>
            <ac:spMk id="4" creationId="{00000000-0000-0000-0000-000000000000}"/>
          </ac:spMkLst>
        </pc:spChg>
      </pc:sldChg>
      <pc:sldChg chg="new del">
        <pc:chgData name="BOILLOT Pierre" userId="394685f5-d138-4af8-9aa4-6b856b200155" providerId="ADAL" clId="{2F50E197-EE7B-4745-A4EC-797DA2B2CC70}" dt="2024-06-13T08:42:20.884" v="10" actId="680"/>
        <pc:sldMkLst>
          <pc:docMk/>
          <pc:sldMk cId="2364944747" sldId="310"/>
        </pc:sldMkLst>
      </pc:sldChg>
      <pc:sldMasterChg chg="addSp delSp modSp mod modSldLayout">
        <pc:chgData name="BOILLOT Pierre" userId="394685f5-d138-4af8-9aa4-6b856b200155" providerId="ADAL" clId="{2F50E197-EE7B-4745-A4EC-797DA2B2CC70}" dt="2024-06-13T09:03:08.906" v="168" actId="1076"/>
        <pc:sldMasterMkLst>
          <pc:docMk/>
          <pc:sldMasterMk cId="861456328" sldId="2147484137"/>
        </pc:sldMasterMkLst>
        <pc:picChg chg="del">
          <ac:chgData name="BOILLOT Pierre" userId="394685f5-d138-4af8-9aa4-6b856b200155" providerId="ADAL" clId="{2F50E197-EE7B-4745-A4EC-797DA2B2CC70}" dt="2024-06-13T08:58:14.478" v="164" actId="478"/>
          <ac:picMkLst>
            <pc:docMk/>
            <pc:sldMasterMk cId="861456328" sldId="2147484137"/>
            <ac:picMk id="12" creationId="{0A551853-6517-4A2E-B92B-9A9BE102476B}"/>
          </ac:picMkLst>
        </pc:picChg>
        <pc:picChg chg="add mod">
          <ac:chgData name="BOILLOT Pierre" userId="394685f5-d138-4af8-9aa4-6b856b200155" providerId="ADAL" clId="{2F50E197-EE7B-4745-A4EC-797DA2B2CC70}" dt="2024-06-13T09:03:08.906" v="168" actId="1076"/>
          <ac:picMkLst>
            <pc:docMk/>
            <pc:sldMasterMk cId="861456328" sldId="2147484137"/>
            <ac:picMk id="1026" creationId="{71FC4A12-2D47-CA42-E0FD-4C2AF732AA55}"/>
          </ac:picMkLst>
        </pc:picChg>
        <pc:sldLayoutChg chg="addSp delSp mod">
          <pc:chgData name="BOILLOT Pierre" userId="394685f5-d138-4af8-9aa4-6b856b200155" providerId="ADAL" clId="{2F50E197-EE7B-4745-A4EC-797DA2B2CC70}" dt="2024-06-13T08:42:27.513" v="12" actId="478"/>
          <pc:sldLayoutMkLst>
            <pc:docMk/>
            <pc:sldMasterMk cId="861456328" sldId="2147484137"/>
            <pc:sldLayoutMk cId="2895347646" sldId="2147484138"/>
          </pc:sldLayoutMkLst>
          <pc:picChg chg="add del">
            <ac:chgData name="BOILLOT Pierre" userId="394685f5-d138-4af8-9aa4-6b856b200155" providerId="ADAL" clId="{2F50E197-EE7B-4745-A4EC-797DA2B2CC70}" dt="2024-06-13T08:42:27.513" v="12" actId="478"/>
            <ac:picMkLst>
              <pc:docMk/>
              <pc:sldMasterMk cId="861456328" sldId="2147484137"/>
              <pc:sldLayoutMk cId="2895347646" sldId="2147484138"/>
              <ac:picMk id="15" creationId="{26C01BB6-37BD-4A91-8D17-24AFCDCD9D82}"/>
            </ac:picMkLst>
          </pc:picChg>
        </pc:sldLayoutChg>
        <pc:sldLayoutChg chg="addSp delSp mod">
          <pc:chgData name="BOILLOT Pierre" userId="394685f5-d138-4af8-9aa4-6b856b200155" providerId="ADAL" clId="{2F50E197-EE7B-4745-A4EC-797DA2B2CC70}" dt="2024-06-13T08:44:32.450" v="20" actId="478"/>
          <pc:sldLayoutMkLst>
            <pc:docMk/>
            <pc:sldMasterMk cId="861456328" sldId="2147484137"/>
            <pc:sldLayoutMk cId="954010642" sldId="2147484139"/>
          </pc:sldLayoutMkLst>
          <pc:picChg chg="add del">
            <ac:chgData name="BOILLOT Pierre" userId="394685f5-d138-4af8-9aa4-6b856b200155" providerId="ADAL" clId="{2F50E197-EE7B-4745-A4EC-797DA2B2CC70}" dt="2024-06-13T08:44:32.450" v="20" actId="478"/>
            <ac:picMkLst>
              <pc:docMk/>
              <pc:sldMasterMk cId="861456328" sldId="2147484137"/>
              <pc:sldLayoutMk cId="954010642" sldId="2147484139"/>
              <ac:picMk id="15" creationId="{52A0038E-C6AC-4E98-A73A-1E0AF9CB1148}"/>
            </ac:picMkLst>
          </pc:picChg>
        </pc:sldLayoutChg>
        <pc:sldLayoutChg chg="addSp delSp modSp">
          <pc:chgData name="BOILLOT Pierre" userId="394685f5-d138-4af8-9aa4-6b856b200155" providerId="ADAL" clId="{2F50E197-EE7B-4745-A4EC-797DA2B2CC70}" dt="2024-06-13T08:44:05.319" v="19"/>
          <pc:sldLayoutMkLst>
            <pc:docMk/>
            <pc:sldMasterMk cId="861456328" sldId="2147484137"/>
            <pc:sldLayoutMk cId="3111125982" sldId="2147484140"/>
          </pc:sldLayoutMkLst>
          <pc:spChg chg="add mod">
            <ac:chgData name="BOILLOT Pierre" userId="394685f5-d138-4af8-9aa4-6b856b200155" providerId="ADAL" clId="{2F50E197-EE7B-4745-A4EC-797DA2B2CC70}" dt="2024-06-13T08:43:33.438" v="13"/>
            <ac:spMkLst>
              <pc:docMk/>
              <pc:sldMasterMk cId="861456328" sldId="2147484137"/>
              <pc:sldLayoutMk cId="3111125982" sldId="2147484140"/>
              <ac:spMk id="2" creationId="{B0F78C26-AC5B-1C6C-FFBA-DF165A5DB418}"/>
            </ac:spMkLst>
          </pc:spChg>
          <pc:spChg chg="add del mod">
            <ac:chgData name="BOILLOT Pierre" userId="394685f5-d138-4af8-9aa4-6b856b200155" providerId="ADAL" clId="{2F50E197-EE7B-4745-A4EC-797DA2B2CC70}" dt="2024-06-13T08:43:42.116" v="16"/>
            <ac:spMkLst>
              <pc:docMk/>
              <pc:sldMasterMk cId="861456328" sldId="2147484137"/>
              <pc:sldLayoutMk cId="3111125982" sldId="2147484140"/>
              <ac:spMk id="3" creationId="{30499022-719C-09AF-A3A2-56963B839EEF}"/>
            </ac:spMkLst>
          </pc:spChg>
          <pc:spChg chg="del">
            <ac:chgData name="BOILLOT Pierre" userId="394685f5-d138-4af8-9aa4-6b856b200155" providerId="ADAL" clId="{2F50E197-EE7B-4745-A4EC-797DA2B2CC70}" dt="2024-06-13T08:43:34.610" v="14"/>
            <ac:spMkLst>
              <pc:docMk/>
              <pc:sldMasterMk cId="861456328" sldId="2147484137"/>
              <pc:sldLayoutMk cId="3111125982" sldId="2147484140"/>
              <ac:spMk id="4" creationId="{7ED4F83B-957D-469C-AE2C-E27386EBFB31}"/>
            </ac:spMkLst>
          </pc:spChg>
          <pc:spChg chg="add del mod">
            <ac:chgData name="BOILLOT Pierre" userId="394685f5-d138-4af8-9aa4-6b856b200155" providerId="ADAL" clId="{2F50E197-EE7B-4745-A4EC-797DA2B2CC70}" dt="2024-06-13T08:44:04.784" v="18"/>
            <ac:spMkLst>
              <pc:docMk/>
              <pc:sldMasterMk cId="861456328" sldId="2147484137"/>
              <pc:sldLayoutMk cId="3111125982" sldId="2147484140"/>
              <ac:spMk id="6" creationId="{436F04AA-1333-8194-427A-52DB5550B5CB}"/>
            </ac:spMkLst>
          </pc:spChg>
          <pc:spChg chg="add mod">
            <ac:chgData name="BOILLOT Pierre" userId="394685f5-d138-4af8-9aa4-6b856b200155" providerId="ADAL" clId="{2F50E197-EE7B-4745-A4EC-797DA2B2CC70}" dt="2024-06-13T08:44:05.319" v="19"/>
            <ac:spMkLst>
              <pc:docMk/>
              <pc:sldMasterMk cId="861456328" sldId="2147484137"/>
              <pc:sldLayoutMk cId="3111125982" sldId="2147484140"/>
              <ac:spMk id="7" creationId="{085AFE49-B0D4-72A9-93A9-AE3168DC7413}"/>
            </ac:spMkLst>
          </pc:spChg>
        </pc:sldLayoutChg>
      </pc:sldMasterChg>
      <pc:sldMasterChg chg="new del mod addSldLayout delSldLayout">
        <pc:chgData name="BOILLOT Pierre" userId="394685f5-d138-4af8-9aa4-6b856b200155" providerId="ADAL" clId="{2F50E197-EE7B-4745-A4EC-797DA2B2CC70}" dt="2024-06-13T08:41:17.383" v="8" actId="6938"/>
        <pc:sldMasterMkLst>
          <pc:docMk/>
          <pc:sldMasterMk cId="1409140395" sldId="2147484148"/>
        </pc:sldMasterMkLst>
        <pc:sldLayoutChg chg="new del replId">
          <pc:chgData name="BOILLOT Pierre" userId="394685f5-d138-4af8-9aa4-6b856b200155" providerId="ADAL" clId="{2F50E197-EE7B-4745-A4EC-797DA2B2CC70}" dt="2024-06-13T08:41:17.383" v="8" actId="6938"/>
          <pc:sldLayoutMkLst>
            <pc:docMk/>
            <pc:sldMasterMk cId="1409140395" sldId="2147484148"/>
            <pc:sldLayoutMk cId="1744620258" sldId="2147484149"/>
          </pc:sldLayoutMkLst>
        </pc:sldLayoutChg>
        <pc:sldLayoutChg chg="new del replId">
          <pc:chgData name="BOILLOT Pierre" userId="394685f5-d138-4af8-9aa4-6b856b200155" providerId="ADAL" clId="{2F50E197-EE7B-4745-A4EC-797DA2B2CC70}" dt="2024-06-13T08:41:17.383" v="8" actId="6938"/>
          <pc:sldLayoutMkLst>
            <pc:docMk/>
            <pc:sldMasterMk cId="1409140395" sldId="2147484148"/>
            <pc:sldLayoutMk cId="1213860388" sldId="2147484150"/>
          </pc:sldLayoutMkLst>
        </pc:sldLayoutChg>
        <pc:sldLayoutChg chg="new del replId">
          <pc:chgData name="BOILLOT Pierre" userId="394685f5-d138-4af8-9aa4-6b856b200155" providerId="ADAL" clId="{2F50E197-EE7B-4745-A4EC-797DA2B2CC70}" dt="2024-06-13T08:41:17.383" v="8" actId="6938"/>
          <pc:sldLayoutMkLst>
            <pc:docMk/>
            <pc:sldMasterMk cId="1409140395" sldId="2147484148"/>
            <pc:sldLayoutMk cId="2265221092" sldId="2147484151"/>
          </pc:sldLayoutMkLst>
        </pc:sldLayoutChg>
        <pc:sldLayoutChg chg="new del replId">
          <pc:chgData name="BOILLOT Pierre" userId="394685f5-d138-4af8-9aa4-6b856b200155" providerId="ADAL" clId="{2F50E197-EE7B-4745-A4EC-797DA2B2CC70}" dt="2024-06-13T08:41:17.383" v="8" actId="6938"/>
          <pc:sldLayoutMkLst>
            <pc:docMk/>
            <pc:sldMasterMk cId="1409140395" sldId="2147484148"/>
            <pc:sldLayoutMk cId="2725378863" sldId="2147484152"/>
          </pc:sldLayoutMkLst>
        </pc:sldLayoutChg>
        <pc:sldLayoutChg chg="new del replId">
          <pc:chgData name="BOILLOT Pierre" userId="394685f5-d138-4af8-9aa4-6b856b200155" providerId="ADAL" clId="{2F50E197-EE7B-4745-A4EC-797DA2B2CC70}" dt="2024-06-13T08:41:17.383" v="8" actId="6938"/>
          <pc:sldLayoutMkLst>
            <pc:docMk/>
            <pc:sldMasterMk cId="1409140395" sldId="2147484148"/>
            <pc:sldLayoutMk cId="1281166357" sldId="2147484153"/>
          </pc:sldLayoutMkLst>
        </pc:sldLayoutChg>
        <pc:sldLayoutChg chg="new del replId">
          <pc:chgData name="BOILLOT Pierre" userId="394685f5-d138-4af8-9aa4-6b856b200155" providerId="ADAL" clId="{2F50E197-EE7B-4745-A4EC-797DA2B2CC70}" dt="2024-06-13T08:41:17.383" v="8" actId="6938"/>
          <pc:sldLayoutMkLst>
            <pc:docMk/>
            <pc:sldMasterMk cId="1409140395" sldId="2147484148"/>
            <pc:sldLayoutMk cId="3149970618" sldId="2147484154"/>
          </pc:sldLayoutMkLst>
        </pc:sldLayoutChg>
        <pc:sldLayoutChg chg="new del replId">
          <pc:chgData name="BOILLOT Pierre" userId="394685f5-d138-4af8-9aa4-6b856b200155" providerId="ADAL" clId="{2F50E197-EE7B-4745-A4EC-797DA2B2CC70}" dt="2024-06-13T08:41:17.383" v="8" actId="6938"/>
          <pc:sldLayoutMkLst>
            <pc:docMk/>
            <pc:sldMasterMk cId="1409140395" sldId="2147484148"/>
            <pc:sldLayoutMk cId="3689558309" sldId="2147484155"/>
          </pc:sldLayoutMkLst>
        </pc:sldLayoutChg>
        <pc:sldLayoutChg chg="new del replId">
          <pc:chgData name="BOILLOT Pierre" userId="394685f5-d138-4af8-9aa4-6b856b200155" providerId="ADAL" clId="{2F50E197-EE7B-4745-A4EC-797DA2B2CC70}" dt="2024-06-13T08:41:17.383" v="8" actId="6938"/>
          <pc:sldLayoutMkLst>
            <pc:docMk/>
            <pc:sldMasterMk cId="1409140395" sldId="2147484148"/>
            <pc:sldLayoutMk cId="3098823815" sldId="2147484156"/>
          </pc:sldLayoutMkLst>
        </pc:sldLayoutChg>
        <pc:sldLayoutChg chg="new del replId">
          <pc:chgData name="BOILLOT Pierre" userId="394685f5-d138-4af8-9aa4-6b856b200155" providerId="ADAL" clId="{2F50E197-EE7B-4745-A4EC-797DA2B2CC70}" dt="2024-06-13T08:41:17.383" v="8" actId="6938"/>
          <pc:sldLayoutMkLst>
            <pc:docMk/>
            <pc:sldMasterMk cId="1409140395" sldId="2147484148"/>
            <pc:sldLayoutMk cId="646393153" sldId="2147484157"/>
          </pc:sldLayoutMkLst>
        </pc:sldLayoutChg>
        <pc:sldLayoutChg chg="new del replId">
          <pc:chgData name="BOILLOT Pierre" userId="394685f5-d138-4af8-9aa4-6b856b200155" providerId="ADAL" clId="{2F50E197-EE7B-4745-A4EC-797DA2B2CC70}" dt="2024-06-13T08:41:17.383" v="8" actId="6938"/>
          <pc:sldLayoutMkLst>
            <pc:docMk/>
            <pc:sldMasterMk cId="1409140395" sldId="2147484148"/>
            <pc:sldLayoutMk cId="87077243" sldId="2147484158"/>
          </pc:sldLayoutMkLst>
        </pc:sldLayoutChg>
        <pc:sldLayoutChg chg="new del replId">
          <pc:chgData name="BOILLOT Pierre" userId="394685f5-d138-4af8-9aa4-6b856b200155" providerId="ADAL" clId="{2F50E197-EE7B-4745-A4EC-797DA2B2CC70}" dt="2024-06-13T08:41:17.383" v="8" actId="6938"/>
          <pc:sldLayoutMkLst>
            <pc:docMk/>
            <pc:sldMasterMk cId="1409140395" sldId="2147484148"/>
            <pc:sldLayoutMk cId="555378288" sldId="2147484159"/>
          </pc:sldLayoutMkLst>
        </pc:sldLayoutChg>
      </pc:sldMasterChg>
    </pc:docChg>
  </pc:docChgLst>
  <pc:docChgLst>
    <pc:chgData name="BOILLOT Pierre" userId="394685f5-d138-4af8-9aa4-6b856b200155" providerId="ADAL" clId="{F42F1A7D-1D72-46A9-99C9-5251223993C4}"/>
    <pc:docChg chg="undo custSel modSld addMainMaster delMainMaster modMainMaster">
      <pc:chgData name="BOILLOT Pierre" userId="394685f5-d138-4af8-9aa4-6b856b200155" providerId="ADAL" clId="{F42F1A7D-1D72-46A9-99C9-5251223993C4}" dt="2024-07-04T08:37:48.127" v="108" actId="20577"/>
      <pc:docMkLst>
        <pc:docMk/>
      </pc:docMkLst>
      <pc:sldChg chg="addSp delSp modSp mod">
        <pc:chgData name="BOILLOT Pierre" userId="394685f5-d138-4af8-9aa4-6b856b200155" providerId="ADAL" clId="{F42F1A7D-1D72-46A9-99C9-5251223993C4}" dt="2024-06-27T08:18:26.858" v="66" actId="20577"/>
        <pc:sldMkLst>
          <pc:docMk/>
          <pc:sldMk cId="2180989171" sldId="262"/>
        </pc:sldMkLst>
        <pc:spChg chg="mod">
          <ac:chgData name="BOILLOT Pierre" userId="394685f5-d138-4af8-9aa4-6b856b200155" providerId="ADAL" clId="{F42F1A7D-1D72-46A9-99C9-5251223993C4}" dt="2024-06-27T08:18:26.858" v="66" actId="20577"/>
          <ac:spMkLst>
            <pc:docMk/>
            <pc:sldMk cId="2180989171" sldId="262"/>
            <ac:spMk id="4" creationId="{00000000-0000-0000-0000-000000000000}"/>
          </ac:spMkLst>
        </pc:spChg>
        <pc:picChg chg="add del mod">
          <ac:chgData name="BOILLOT Pierre" userId="394685f5-d138-4af8-9aa4-6b856b200155" providerId="ADAL" clId="{F42F1A7D-1D72-46A9-99C9-5251223993C4}" dt="2024-06-26T16:01:37.735" v="6" actId="478"/>
          <ac:picMkLst>
            <pc:docMk/>
            <pc:sldMk cId="2180989171" sldId="262"/>
            <ac:picMk id="2" creationId="{04C739B2-3219-819C-6D2F-5D92E8275FF2}"/>
          </ac:picMkLst>
        </pc:picChg>
        <pc:picChg chg="del">
          <ac:chgData name="BOILLOT Pierre" userId="394685f5-d138-4af8-9aa4-6b856b200155" providerId="ADAL" clId="{F42F1A7D-1D72-46A9-99C9-5251223993C4}" dt="2024-06-26T16:01:18.106" v="2" actId="478"/>
          <ac:picMkLst>
            <pc:docMk/>
            <pc:sldMk cId="2180989171" sldId="262"/>
            <ac:picMk id="1026" creationId="{7762457F-4390-1848-45D0-312E1ADC1E72}"/>
          </ac:picMkLst>
        </pc:picChg>
      </pc:sldChg>
      <pc:sldChg chg="modSp mod">
        <pc:chgData name="BOILLOT Pierre" userId="394685f5-d138-4af8-9aa4-6b856b200155" providerId="ADAL" clId="{F42F1A7D-1D72-46A9-99C9-5251223993C4}" dt="2024-07-04T08:36:16.498" v="82" actId="20577"/>
        <pc:sldMkLst>
          <pc:docMk/>
          <pc:sldMk cId="2594351369" sldId="280"/>
        </pc:sldMkLst>
        <pc:spChg chg="mod">
          <ac:chgData name="BOILLOT Pierre" userId="394685f5-d138-4af8-9aa4-6b856b200155" providerId="ADAL" clId="{F42F1A7D-1D72-46A9-99C9-5251223993C4}" dt="2024-07-04T08:36:16.498" v="82" actId="20577"/>
          <ac:spMkLst>
            <pc:docMk/>
            <pc:sldMk cId="2594351369" sldId="280"/>
            <ac:spMk id="8" creationId="{00000000-0000-0000-0000-000000000000}"/>
          </ac:spMkLst>
        </pc:spChg>
      </pc:sldChg>
      <pc:sldChg chg="modSp mod">
        <pc:chgData name="BOILLOT Pierre" userId="394685f5-d138-4af8-9aa4-6b856b200155" providerId="ADAL" clId="{F42F1A7D-1D72-46A9-99C9-5251223993C4}" dt="2024-07-04T08:36:38.028" v="99" actId="20577"/>
        <pc:sldMkLst>
          <pc:docMk/>
          <pc:sldMk cId="4064731237" sldId="285"/>
        </pc:sldMkLst>
        <pc:spChg chg="mod">
          <ac:chgData name="BOILLOT Pierre" userId="394685f5-d138-4af8-9aa4-6b856b200155" providerId="ADAL" clId="{F42F1A7D-1D72-46A9-99C9-5251223993C4}" dt="2024-07-04T08:36:38.028" v="99" actId="20577"/>
          <ac:spMkLst>
            <pc:docMk/>
            <pc:sldMk cId="4064731237" sldId="285"/>
            <ac:spMk id="8" creationId="{00000000-0000-0000-0000-000000000000}"/>
          </ac:spMkLst>
        </pc:spChg>
      </pc:sldChg>
      <pc:sldChg chg="modSp mod">
        <pc:chgData name="BOILLOT Pierre" userId="394685f5-d138-4af8-9aa4-6b856b200155" providerId="ADAL" clId="{F42F1A7D-1D72-46A9-99C9-5251223993C4}" dt="2024-07-04T08:36:24.611" v="98" actId="20577"/>
        <pc:sldMkLst>
          <pc:docMk/>
          <pc:sldMk cId="1045710081" sldId="286"/>
        </pc:sldMkLst>
        <pc:spChg chg="mod">
          <ac:chgData name="BOILLOT Pierre" userId="394685f5-d138-4af8-9aa4-6b856b200155" providerId="ADAL" clId="{F42F1A7D-1D72-46A9-99C9-5251223993C4}" dt="2024-07-04T08:36:24.611" v="98" actId="20577"/>
          <ac:spMkLst>
            <pc:docMk/>
            <pc:sldMk cId="1045710081" sldId="286"/>
            <ac:spMk id="8" creationId="{00000000-0000-0000-0000-000000000000}"/>
          </ac:spMkLst>
        </pc:spChg>
      </pc:sldChg>
      <pc:sldChg chg="modSp mod">
        <pc:chgData name="BOILLOT Pierre" userId="394685f5-d138-4af8-9aa4-6b856b200155" providerId="ADAL" clId="{F42F1A7D-1D72-46A9-99C9-5251223993C4}" dt="2024-07-04T08:36:45.647" v="100" actId="20577"/>
        <pc:sldMkLst>
          <pc:docMk/>
          <pc:sldMk cId="1726641251" sldId="290"/>
        </pc:sldMkLst>
        <pc:spChg chg="mod">
          <ac:chgData name="BOILLOT Pierre" userId="394685f5-d138-4af8-9aa4-6b856b200155" providerId="ADAL" clId="{F42F1A7D-1D72-46A9-99C9-5251223993C4}" dt="2024-07-04T08:36:45.647" v="100" actId="20577"/>
          <ac:spMkLst>
            <pc:docMk/>
            <pc:sldMk cId="1726641251" sldId="290"/>
            <ac:spMk id="8" creationId="{00000000-0000-0000-0000-000000000000}"/>
          </ac:spMkLst>
        </pc:spChg>
      </pc:sldChg>
      <pc:sldChg chg="modSp mod">
        <pc:chgData name="BOILLOT Pierre" userId="394685f5-d138-4af8-9aa4-6b856b200155" providerId="ADAL" clId="{F42F1A7D-1D72-46A9-99C9-5251223993C4}" dt="2024-07-04T08:37:07.857" v="103" actId="20577"/>
        <pc:sldMkLst>
          <pc:docMk/>
          <pc:sldMk cId="3263114173" sldId="292"/>
        </pc:sldMkLst>
        <pc:spChg chg="mod">
          <ac:chgData name="BOILLOT Pierre" userId="394685f5-d138-4af8-9aa4-6b856b200155" providerId="ADAL" clId="{F42F1A7D-1D72-46A9-99C9-5251223993C4}" dt="2024-07-04T08:37:07.857" v="103" actId="20577"/>
          <ac:spMkLst>
            <pc:docMk/>
            <pc:sldMk cId="3263114173" sldId="292"/>
            <ac:spMk id="8" creationId="{00000000-0000-0000-0000-000000000000}"/>
          </ac:spMkLst>
        </pc:spChg>
      </pc:sldChg>
      <pc:sldChg chg="modSp mod">
        <pc:chgData name="BOILLOT Pierre" userId="394685f5-d138-4af8-9aa4-6b856b200155" providerId="ADAL" clId="{F42F1A7D-1D72-46A9-99C9-5251223993C4}" dt="2024-07-04T08:37:16.064" v="104" actId="20577"/>
        <pc:sldMkLst>
          <pc:docMk/>
          <pc:sldMk cId="3358981200" sldId="293"/>
        </pc:sldMkLst>
        <pc:spChg chg="mod">
          <ac:chgData name="BOILLOT Pierre" userId="394685f5-d138-4af8-9aa4-6b856b200155" providerId="ADAL" clId="{F42F1A7D-1D72-46A9-99C9-5251223993C4}" dt="2024-07-04T08:37:16.064" v="104" actId="20577"/>
          <ac:spMkLst>
            <pc:docMk/>
            <pc:sldMk cId="3358981200" sldId="293"/>
            <ac:spMk id="8" creationId="{00000000-0000-0000-0000-000000000000}"/>
          </ac:spMkLst>
        </pc:spChg>
      </pc:sldChg>
      <pc:sldChg chg="modSp mod">
        <pc:chgData name="BOILLOT Pierre" userId="394685f5-d138-4af8-9aa4-6b856b200155" providerId="ADAL" clId="{F42F1A7D-1D72-46A9-99C9-5251223993C4}" dt="2024-07-04T08:37:02.444" v="102" actId="20577"/>
        <pc:sldMkLst>
          <pc:docMk/>
          <pc:sldMk cId="524006569" sldId="301"/>
        </pc:sldMkLst>
        <pc:spChg chg="mod">
          <ac:chgData name="BOILLOT Pierre" userId="394685f5-d138-4af8-9aa4-6b856b200155" providerId="ADAL" clId="{F42F1A7D-1D72-46A9-99C9-5251223993C4}" dt="2024-07-04T08:37:02.444" v="102" actId="20577"/>
          <ac:spMkLst>
            <pc:docMk/>
            <pc:sldMk cId="524006569" sldId="301"/>
            <ac:spMk id="2" creationId="{00000000-0000-0000-0000-000000000000}"/>
          </ac:spMkLst>
        </pc:spChg>
      </pc:sldChg>
      <pc:sldChg chg="modSp mod">
        <pc:chgData name="BOILLOT Pierre" userId="394685f5-d138-4af8-9aa4-6b856b200155" providerId="ADAL" clId="{F42F1A7D-1D72-46A9-99C9-5251223993C4}" dt="2024-07-04T08:36:53.629" v="101" actId="20577"/>
        <pc:sldMkLst>
          <pc:docMk/>
          <pc:sldMk cId="408886570" sldId="302"/>
        </pc:sldMkLst>
        <pc:spChg chg="mod">
          <ac:chgData name="BOILLOT Pierre" userId="394685f5-d138-4af8-9aa4-6b856b200155" providerId="ADAL" clId="{F42F1A7D-1D72-46A9-99C9-5251223993C4}" dt="2024-07-04T08:36:53.629" v="101" actId="20577"/>
          <ac:spMkLst>
            <pc:docMk/>
            <pc:sldMk cId="408886570" sldId="302"/>
            <ac:spMk id="8" creationId="{00000000-0000-0000-0000-000000000000}"/>
          </ac:spMkLst>
        </pc:spChg>
      </pc:sldChg>
      <pc:sldChg chg="modSp mod">
        <pc:chgData name="BOILLOT Pierre" userId="394685f5-d138-4af8-9aa4-6b856b200155" providerId="ADAL" clId="{F42F1A7D-1D72-46A9-99C9-5251223993C4}" dt="2024-07-04T08:37:38.673" v="107" actId="20577"/>
        <pc:sldMkLst>
          <pc:docMk/>
          <pc:sldMk cId="2884910357" sldId="304"/>
        </pc:sldMkLst>
        <pc:spChg chg="mod">
          <ac:chgData name="BOILLOT Pierre" userId="394685f5-d138-4af8-9aa4-6b856b200155" providerId="ADAL" clId="{F42F1A7D-1D72-46A9-99C9-5251223993C4}" dt="2024-07-04T08:37:38.673" v="107" actId="20577"/>
          <ac:spMkLst>
            <pc:docMk/>
            <pc:sldMk cId="2884910357" sldId="304"/>
            <ac:spMk id="8" creationId="{00000000-0000-0000-0000-000000000000}"/>
          </ac:spMkLst>
        </pc:spChg>
      </pc:sldChg>
      <pc:sldChg chg="modSp mod">
        <pc:chgData name="BOILLOT Pierre" userId="394685f5-d138-4af8-9aa4-6b856b200155" providerId="ADAL" clId="{F42F1A7D-1D72-46A9-99C9-5251223993C4}" dt="2024-07-04T08:37:48.127" v="108" actId="20577"/>
        <pc:sldMkLst>
          <pc:docMk/>
          <pc:sldMk cId="2521338729" sldId="307"/>
        </pc:sldMkLst>
        <pc:spChg chg="mod">
          <ac:chgData name="BOILLOT Pierre" userId="394685f5-d138-4af8-9aa4-6b856b200155" providerId="ADAL" clId="{F42F1A7D-1D72-46A9-99C9-5251223993C4}" dt="2024-07-04T08:37:48.127" v="108" actId="20577"/>
          <ac:spMkLst>
            <pc:docMk/>
            <pc:sldMk cId="2521338729" sldId="307"/>
            <ac:spMk id="8" creationId="{00000000-0000-0000-0000-000000000000}"/>
          </ac:spMkLst>
        </pc:spChg>
      </pc:sldChg>
      <pc:sldChg chg="modSp mod">
        <pc:chgData name="BOILLOT Pierre" userId="394685f5-d138-4af8-9aa4-6b856b200155" providerId="ADAL" clId="{F42F1A7D-1D72-46A9-99C9-5251223993C4}" dt="2024-07-04T08:37:23.832" v="105" actId="20577"/>
        <pc:sldMkLst>
          <pc:docMk/>
          <pc:sldMk cId="510107571" sldId="308"/>
        </pc:sldMkLst>
        <pc:spChg chg="mod">
          <ac:chgData name="BOILLOT Pierre" userId="394685f5-d138-4af8-9aa4-6b856b200155" providerId="ADAL" clId="{F42F1A7D-1D72-46A9-99C9-5251223993C4}" dt="2024-07-04T08:37:23.832" v="105" actId="20577"/>
          <ac:spMkLst>
            <pc:docMk/>
            <pc:sldMk cId="510107571" sldId="308"/>
            <ac:spMk id="8" creationId="{00000000-0000-0000-0000-000000000000}"/>
          </ac:spMkLst>
        </pc:spChg>
      </pc:sldChg>
      <pc:sldChg chg="modSp mod">
        <pc:chgData name="BOILLOT Pierre" userId="394685f5-d138-4af8-9aa4-6b856b200155" providerId="ADAL" clId="{F42F1A7D-1D72-46A9-99C9-5251223993C4}" dt="2024-07-04T08:37:32.322" v="106" actId="20577"/>
        <pc:sldMkLst>
          <pc:docMk/>
          <pc:sldMk cId="2858997803" sldId="309"/>
        </pc:sldMkLst>
        <pc:spChg chg="mod">
          <ac:chgData name="BOILLOT Pierre" userId="394685f5-d138-4af8-9aa4-6b856b200155" providerId="ADAL" clId="{F42F1A7D-1D72-46A9-99C9-5251223993C4}" dt="2024-07-04T08:37:32.322" v="106" actId="20577"/>
          <ac:spMkLst>
            <pc:docMk/>
            <pc:sldMk cId="2858997803" sldId="309"/>
            <ac:spMk id="8" creationId="{00000000-0000-0000-0000-000000000000}"/>
          </ac:spMkLst>
        </pc:spChg>
      </pc:sldChg>
      <pc:sldMasterChg chg="addSp delSp modSp mod modSldLayout">
        <pc:chgData name="BOILLOT Pierre" userId="394685f5-d138-4af8-9aa4-6b856b200155" providerId="ADAL" clId="{F42F1A7D-1D72-46A9-99C9-5251223993C4}" dt="2024-06-26T16:08:14.600" v="25" actId="1076"/>
        <pc:sldMasterMkLst>
          <pc:docMk/>
          <pc:sldMasterMk cId="861456328" sldId="2147484137"/>
        </pc:sldMasterMkLst>
        <pc:picChg chg="add mod">
          <ac:chgData name="BOILLOT Pierre" userId="394685f5-d138-4af8-9aa4-6b856b200155" providerId="ADAL" clId="{F42F1A7D-1D72-46A9-99C9-5251223993C4}" dt="2024-06-26T16:08:14.600" v="25" actId="1076"/>
          <ac:picMkLst>
            <pc:docMk/>
            <pc:sldMasterMk cId="861456328" sldId="2147484137"/>
            <ac:picMk id="4" creationId="{E8C62593-3E6E-2BCD-A260-F8D0FDF420F4}"/>
          </ac:picMkLst>
        </pc:picChg>
        <pc:picChg chg="del">
          <ac:chgData name="BOILLOT Pierre" userId="394685f5-d138-4af8-9aa4-6b856b200155" providerId="ADAL" clId="{F42F1A7D-1D72-46A9-99C9-5251223993C4}" dt="2024-06-26T16:03:21.997" v="14" actId="478"/>
          <ac:picMkLst>
            <pc:docMk/>
            <pc:sldMasterMk cId="861456328" sldId="2147484137"/>
            <ac:picMk id="1026" creationId="{71FC4A12-2D47-CA42-E0FD-4C2AF732AA55}"/>
          </ac:picMkLst>
        </pc:picChg>
        <pc:sldLayoutChg chg="addSp modSp mod">
          <pc:chgData name="BOILLOT Pierre" userId="394685f5-d138-4af8-9aa4-6b856b200155" providerId="ADAL" clId="{F42F1A7D-1D72-46A9-99C9-5251223993C4}" dt="2024-06-26T16:03:01.991" v="13" actId="1076"/>
          <pc:sldLayoutMkLst>
            <pc:docMk/>
            <pc:sldMasterMk cId="861456328" sldId="2147484137"/>
            <pc:sldLayoutMk cId="2895347646" sldId="2147484138"/>
          </pc:sldLayoutMkLst>
          <pc:picChg chg="add mod">
            <ac:chgData name="BOILLOT Pierre" userId="394685f5-d138-4af8-9aa4-6b856b200155" providerId="ADAL" clId="{F42F1A7D-1D72-46A9-99C9-5251223993C4}" dt="2024-06-26T16:03:01.991" v="13" actId="1076"/>
            <ac:picMkLst>
              <pc:docMk/>
              <pc:sldMasterMk cId="861456328" sldId="2147484137"/>
              <pc:sldLayoutMk cId="2895347646" sldId="2147484138"/>
              <ac:picMk id="2" creationId="{223AAAD2-5AB3-3F64-539A-C0088CD31C19}"/>
            </ac:picMkLst>
          </pc:picChg>
          <pc:picChg chg="mod">
            <ac:chgData name="BOILLOT Pierre" userId="394685f5-d138-4af8-9aa4-6b856b200155" providerId="ADAL" clId="{F42F1A7D-1D72-46A9-99C9-5251223993C4}" dt="2024-06-26T16:02:46.980" v="9" actId="14100"/>
            <ac:picMkLst>
              <pc:docMk/>
              <pc:sldMasterMk cId="861456328" sldId="2147484137"/>
              <pc:sldLayoutMk cId="2895347646" sldId="2147484138"/>
              <ac:picMk id="17" creationId="{18FCE48A-8178-4250-B2D5-2A8E973EBA3C}"/>
            </ac:picMkLst>
          </pc:picChg>
          <pc:picChg chg="mod">
            <ac:chgData name="BOILLOT Pierre" userId="394685f5-d138-4af8-9aa4-6b856b200155" providerId="ADAL" clId="{F42F1A7D-1D72-46A9-99C9-5251223993C4}" dt="2024-06-26T16:02:53.326" v="11" actId="1076"/>
            <ac:picMkLst>
              <pc:docMk/>
              <pc:sldMasterMk cId="861456328" sldId="2147484137"/>
              <pc:sldLayoutMk cId="2895347646" sldId="2147484138"/>
              <ac:picMk id="18" creationId="{1D5F6CA3-CFF4-472C-913E-040ABCED1EFF}"/>
            </ac:picMkLst>
          </pc:picChg>
        </pc:sldLayoutChg>
        <pc:sldLayoutChg chg="addSp modSp mod">
          <pc:chgData name="BOILLOT Pierre" userId="394685f5-d138-4af8-9aa4-6b856b200155" providerId="ADAL" clId="{F42F1A7D-1D72-46A9-99C9-5251223993C4}" dt="2024-06-26T16:00:47.863" v="1" actId="1076"/>
          <pc:sldLayoutMkLst>
            <pc:docMk/>
            <pc:sldMasterMk cId="861456328" sldId="2147484137"/>
            <pc:sldLayoutMk cId="954010642" sldId="2147484139"/>
          </pc:sldLayoutMkLst>
          <pc:picChg chg="add mod">
            <ac:chgData name="BOILLOT Pierre" userId="394685f5-d138-4af8-9aa4-6b856b200155" providerId="ADAL" clId="{F42F1A7D-1D72-46A9-99C9-5251223993C4}" dt="2024-06-26T16:00:47.863" v="1" actId="1076"/>
            <ac:picMkLst>
              <pc:docMk/>
              <pc:sldMasterMk cId="861456328" sldId="2147484137"/>
              <pc:sldLayoutMk cId="954010642" sldId="2147484139"/>
              <ac:picMk id="2" creationId="{A99B29FD-DC0E-1202-2F8D-23580AE034F8}"/>
            </ac:picMkLst>
          </pc:picChg>
        </pc:sldLayoutChg>
      </pc:sldMasterChg>
      <pc:sldMasterChg chg="new del mod addSldLayout delSldLayout">
        <pc:chgData name="BOILLOT Pierre" userId="394685f5-d138-4af8-9aa4-6b856b200155" providerId="ADAL" clId="{F42F1A7D-1D72-46A9-99C9-5251223993C4}" dt="2024-06-26T16:05:52.212" v="19" actId="6938"/>
        <pc:sldMasterMkLst>
          <pc:docMk/>
          <pc:sldMasterMk cId="1241977376" sldId="2147484148"/>
        </pc:sldMasterMkLst>
        <pc:sldLayoutChg chg="new del replId">
          <pc:chgData name="BOILLOT Pierre" userId="394685f5-d138-4af8-9aa4-6b856b200155" providerId="ADAL" clId="{F42F1A7D-1D72-46A9-99C9-5251223993C4}" dt="2024-06-26T16:05:52.212" v="19" actId="6938"/>
          <pc:sldLayoutMkLst>
            <pc:docMk/>
            <pc:sldMasterMk cId="1241977376" sldId="2147484148"/>
            <pc:sldLayoutMk cId="3012055309" sldId="2147484149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5:52.212" v="19" actId="6938"/>
          <pc:sldLayoutMkLst>
            <pc:docMk/>
            <pc:sldMasterMk cId="1241977376" sldId="2147484148"/>
            <pc:sldLayoutMk cId="1279176614" sldId="2147484150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5:52.212" v="19" actId="6938"/>
          <pc:sldLayoutMkLst>
            <pc:docMk/>
            <pc:sldMasterMk cId="1241977376" sldId="2147484148"/>
            <pc:sldLayoutMk cId="1036045088" sldId="2147484151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5:52.212" v="19" actId="6938"/>
          <pc:sldLayoutMkLst>
            <pc:docMk/>
            <pc:sldMasterMk cId="1241977376" sldId="2147484148"/>
            <pc:sldLayoutMk cId="172135649" sldId="2147484152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5:52.212" v="19" actId="6938"/>
          <pc:sldLayoutMkLst>
            <pc:docMk/>
            <pc:sldMasterMk cId="1241977376" sldId="2147484148"/>
            <pc:sldLayoutMk cId="2342445283" sldId="2147484153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5:52.212" v="19" actId="6938"/>
          <pc:sldLayoutMkLst>
            <pc:docMk/>
            <pc:sldMasterMk cId="1241977376" sldId="2147484148"/>
            <pc:sldLayoutMk cId="229134969" sldId="2147484154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5:52.212" v="19" actId="6938"/>
          <pc:sldLayoutMkLst>
            <pc:docMk/>
            <pc:sldMasterMk cId="1241977376" sldId="2147484148"/>
            <pc:sldLayoutMk cId="2333012284" sldId="2147484155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5:52.212" v="19" actId="6938"/>
          <pc:sldLayoutMkLst>
            <pc:docMk/>
            <pc:sldMasterMk cId="1241977376" sldId="2147484148"/>
            <pc:sldLayoutMk cId="4209617557" sldId="2147484156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5:52.212" v="19" actId="6938"/>
          <pc:sldLayoutMkLst>
            <pc:docMk/>
            <pc:sldMasterMk cId="1241977376" sldId="2147484148"/>
            <pc:sldLayoutMk cId="519612481" sldId="2147484157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5:52.212" v="19" actId="6938"/>
          <pc:sldLayoutMkLst>
            <pc:docMk/>
            <pc:sldMasterMk cId="1241977376" sldId="2147484148"/>
            <pc:sldLayoutMk cId="1891369200" sldId="2147484158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5:52.212" v="19" actId="6938"/>
          <pc:sldLayoutMkLst>
            <pc:docMk/>
            <pc:sldMasterMk cId="1241977376" sldId="2147484148"/>
            <pc:sldLayoutMk cId="165608596" sldId="2147484159"/>
          </pc:sldLayoutMkLst>
        </pc:sldLayoutChg>
      </pc:sldMasterChg>
      <pc:sldMasterChg chg="new del mod addSldLayout delSldLayout">
        <pc:chgData name="BOILLOT Pierre" userId="394685f5-d138-4af8-9aa4-6b856b200155" providerId="ADAL" clId="{F42F1A7D-1D72-46A9-99C9-5251223993C4}" dt="2024-06-26T16:06:04.633" v="21" actId="6938"/>
        <pc:sldMasterMkLst>
          <pc:docMk/>
          <pc:sldMasterMk cId="1719706287" sldId="2147484148"/>
        </pc:sldMasterMkLst>
        <pc:sldLayoutChg chg="new del replId">
          <pc:chgData name="BOILLOT Pierre" userId="394685f5-d138-4af8-9aa4-6b856b200155" providerId="ADAL" clId="{F42F1A7D-1D72-46A9-99C9-5251223993C4}" dt="2024-06-26T16:06:04.633" v="21" actId="6938"/>
          <pc:sldLayoutMkLst>
            <pc:docMk/>
            <pc:sldMasterMk cId="1719706287" sldId="2147484148"/>
            <pc:sldLayoutMk cId="842759600" sldId="2147484149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6:04.633" v="21" actId="6938"/>
          <pc:sldLayoutMkLst>
            <pc:docMk/>
            <pc:sldMasterMk cId="1719706287" sldId="2147484148"/>
            <pc:sldLayoutMk cId="2964681596" sldId="2147484150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6:04.633" v="21" actId="6938"/>
          <pc:sldLayoutMkLst>
            <pc:docMk/>
            <pc:sldMasterMk cId="1719706287" sldId="2147484148"/>
            <pc:sldLayoutMk cId="3889780710" sldId="2147484151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6:04.633" v="21" actId="6938"/>
          <pc:sldLayoutMkLst>
            <pc:docMk/>
            <pc:sldMasterMk cId="1719706287" sldId="2147484148"/>
            <pc:sldLayoutMk cId="1330061169" sldId="2147484152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6:04.633" v="21" actId="6938"/>
          <pc:sldLayoutMkLst>
            <pc:docMk/>
            <pc:sldMasterMk cId="1719706287" sldId="2147484148"/>
            <pc:sldLayoutMk cId="3924096823" sldId="2147484153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6:04.633" v="21" actId="6938"/>
          <pc:sldLayoutMkLst>
            <pc:docMk/>
            <pc:sldMasterMk cId="1719706287" sldId="2147484148"/>
            <pc:sldLayoutMk cId="1222029410" sldId="2147484154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6:04.633" v="21" actId="6938"/>
          <pc:sldLayoutMkLst>
            <pc:docMk/>
            <pc:sldMasterMk cId="1719706287" sldId="2147484148"/>
            <pc:sldLayoutMk cId="1030170495" sldId="2147484155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6:04.633" v="21" actId="6938"/>
          <pc:sldLayoutMkLst>
            <pc:docMk/>
            <pc:sldMasterMk cId="1719706287" sldId="2147484148"/>
            <pc:sldLayoutMk cId="940446336" sldId="2147484156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6:04.633" v="21" actId="6938"/>
          <pc:sldLayoutMkLst>
            <pc:docMk/>
            <pc:sldMasterMk cId="1719706287" sldId="2147484148"/>
            <pc:sldLayoutMk cId="1363325730" sldId="2147484157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6:04.633" v="21" actId="6938"/>
          <pc:sldLayoutMkLst>
            <pc:docMk/>
            <pc:sldMasterMk cId="1719706287" sldId="2147484148"/>
            <pc:sldLayoutMk cId="1379673037" sldId="2147484158"/>
          </pc:sldLayoutMkLst>
        </pc:sldLayoutChg>
        <pc:sldLayoutChg chg="new del replId">
          <pc:chgData name="BOILLOT Pierre" userId="394685f5-d138-4af8-9aa4-6b856b200155" providerId="ADAL" clId="{F42F1A7D-1D72-46A9-99C9-5251223993C4}" dt="2024-06-26T16:06:04.633" v="21" actId="6938"/>
          <pc:sldLayoutMkLst>
            <pc:docMk/>
            <pc:sldMasterMk cId="1719706287" sldId="2147484148"/>
            <pc:sldLayoutMk cId="40466686" sldId="2147484159"/>
          </pc:sldLayoutMkLst>
        </pc:sldLayout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04/07/2024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04/07/2024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  <p:sp>
        <p:nvSpPr>
          <p:cNvPr id="5" name="Espace réservé de l'en-tête 4">
            <a:extLst>
              <a:ext uri="{FF2B5EF4-FFF2-40B4-BE49-F238E27FC236}">
                <a16:creationId xmlns:a16="http://schemas.microsoft.com/office/drawing/2014/main" id="{C42AEDA1-E05C-5363-DA5A-3B913039D839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F3DFBF9-9F24-67A9-49A1-F7FAA83BBC8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fr-FR" altLang="fr-FR" sz="1200">
              <a:latin typeface="Calibri" pitchFamily="34" charset="0"/>
            </a:endParaRPr>
          </a:p>
        </p:txBody>
      </p:sp>
      <p:sp>
        <p:nvSpPr>
          <p:cNvPr id="2" name="Espace réservé de l'en-tête 1">
            <a:extLst>
              <a:ext uri="{FF2B5EF4-FFF2-40B4-BE49-F238E27FC236}">
                <a16:creationId xmlns:a16="http://schemas.microsoft.com/office/drawing/2014/main" id="{CB19F822-6EC4-A97C-E9D7-0312D20BC113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01342D22-ECD2-FC42-D577-AFE4B002ED2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0</a:t>
            </a:fld>
            <a:endParaRPr lang="fr-FR"/>
          </a:p>
        </p:txBody>
      </p:sp>
      <p:sp>
        <p:nvSpPr>
          <p:cNvPr id="5" name="Espace réservé de l'en-tête 4">
            <a:extLst>
              <a:ext uri="{FF2B5EF4-FFF2-40B4-BE49-F238E27FC236}">
                <a16:creationId xmlns:a16="http://schemas.microsoft.com/office/drawing/2014/main" id="{518E1930-4083-B1A3-B6BE-254315421E35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ED54A469-D0D1-1612-D356-9E6BC1E40E9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13513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Pas forcément pertinent au vu de la typologie des projets visée. A enlever?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1</a:t>
            </a:fld>
            <a:endParaRPr lang="fr-FR"/>
          </a:p>
        </p:txBody>
      </p:sp>
      <p:sp>
        <p:nvSpPr>
          <p:cNvPr id="5" name="Espace réservé de l'en-tête 4">
            <a:extLst>
              <a:ext uri="{FF2B5EF4-FFF2-40B4-BE49-F238E27FC236}">
                <a16:creationId xmlns:a16="http://schemas.microsoft.com/office/drawing/2014/main" id="{8C269E1D-A59F-5CEC-9998-031EB834CF77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7A2E1C67-E90D-1BC3-6A56-9007E9905F5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06959944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Pas forcément pertinent au vu de la typologie des projets visée. A enlever?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2</a:t>
            </a:fld>
            <a:endParaRPr lang="fr-FR"/>
          </a:p>
        </p:txBody>
      </p:sp>
      <p:sp>
        <p:nvSpPr>
          <p:cNvPr id="5" name="Espace réservé de l'en-tête 4">
            <a:extLst>
              <a:ext uri="{FF2B5EF4-FFF2-40B4-BE49-F238E27FC236}">
                <a16:creationId xmlns:a16="http://schemas.microsoft.com/office/drawing/2014/main" id="{9FE9D897-B3F9-6EFD-EB72-B31D2FCFD24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CF5F56BC-DA80-EA89-1134-B815B28833C5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465653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3</a:t>
            </a:fld>
            <a:endParaRPr lang="fr-FR"/>
          </a:p>
        </p:txBody>
      </p:sp>
      <p:sp>
        <p:nvSpPr>
          <p:cNvPr id="5" name="Espace réservé de l'en-tête 4">
            <a:extLst>
              <a:ext uri="{FF2B5EF4-FFF2-40B4-BE49-F238E27FC236}">
                <a16:creationId xmlns:a16="http://schemas.microsoft.com/office/drawing/2014/main" id="{E9277DB0-48A9-304A-96D4-1661C515B1E8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DD00FC83-C43C-9B94-C7D6-04DD1F07E567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4</a:t>
            </a:fld>
            <a:endParaRPr lang="fr-FR"/>
          </a:p>
        </p:txBody>
      </p:sp>
      <p:sp>
        <p:nvSpPr>
          <p:cNvPr id="5" name="Espace réservé de l'en-tête 4">
            <a:extLst>
              <a:ext uri="{FF2B5EF4-FFF2-40B4-BE49-F238E27FC236}">
                <a16:creationId xmlns:a16="http://schemas.microsoft.com/office/drawing/2014/main" id="{6E46049E-8A7D-C446-028B-1698C2AAF44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5B1A2F69-017E-9CFA-40D7-3A95A9D04EC2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5</a:t>
            </a:fld>
            <a:endParaRPr lang="fr-FR"/>
          </a:p>
        </p:txBody>
      </p:sp>
      <p:sp>
        <p:nvSpPr>
          <p:cNvPr id="5" name="Espace réservé de l'en-tête 4">
            <a:extLst>
              <a:ext uri="{FF2B5EF4-FFF2-40B4-BE49-F238E27FC236}">
                <a16:creationId xmlns:a16="http://schemas.microsoft.com/office/drawing/2014/main" id="{5081AA20-1ECA-B1D2-8826-0FA34489D461}"/>
              </a:ext>
            </a:extLst>
          </p:cNvPr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05DF6C9B-1662-7E8E-4E17-2A87A5E46E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87138281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sv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260768"/>
            <a:ext cx="1047212" cy="948793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408078" y="5260768"/>
            <a:ext cx="907917" cy="1035345"/>
          </a:xfrm>
          <a:prstGeom prst="rect">
            <a:avLst/>
          </a:prstGeom>
        </p:spPr>
      </p:pic>
      <p:pic>
        <p:nvPicPr>
          <p:cNvPr id="2" name="logo" descr="Une image contenant texte, Police, capture d’écran, blanc&#10;&#10;Description générée automatiquement">
            <a:extLst>
              <a:ext uri="{FF2B5EF4-FFF2-40B4-BE49-F238E27FC236}">
                <a16:creationId xmlns:a16="http://schemas.microsoft.com/office/drawing/2014/main" id="{223AAAD2-5AB3-3F64-539A-C0088CD31C1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auto">
          <a:xfrm>
            <a:off x="2512925" y="5260768"/>
            <a:ext cx="1637023" cy="10353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  <p:pic>
        <p:nvPicPr>
          <p:cNvPr id="2" name="logo" descr="Une image contenant texte, Police, capture d’écran, blanc&#10;&#10;Description générée automatiquement">
            <a:extLst>
              <a:ext uri="{FF2B5EF4-FFF2-40B4-BE49-F238E27FC236}">
                <a16:creationId xmlns:a16="http://schemas.microsoft.com/office/drawing/2014/main" id="{A99B29FD-DC0E-1202-2F8D-23580AE034F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 bwMode="auto">
          <a:xfrm>
            <a:off x="9912563" y="4873228"/>
            <a:ext cx="2171700" cy="13735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" name="Espace réservé du numéro de diapositive 1">
            <a:extLst>
              <a:ext uri="{FF2B5EF4-FFF2-40B4-BE49-F238E27FC236}">
                <a16:creationId xmlns:a16="http://schemas.microsoft.com/office/drawing/2014/main" id="{B0F78C26-AC5B-1C6C-FFBA-DF165A5DB41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sp>
        <p:nvSpPr>
          <p:cNvPr id="7" name="Titre 6">
            <a:extLst>
              <a:ext uri="{FF2B5EF4-FFF2-40B4-BE49-F238E27FC236}">
                <a16:creationId xmlns:a16="http://schemas.microsoft.com/office/drawing/2014/main" id="{085AFE49-B0D4-72A9-93A9-AE3168DC74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18" Type="http://schemas.openxmlformats.org/officeDocument/2006/relationships/image" Target="../media/image6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logo" descr="Une image contenant texte, Police, capture d’écran, blanc&#10;&#10;Description générée automatiquement">
            <a:extLst>
              <a:ext uri="{FF2B5EF4-FFF2-40B4-BE49-F238E27FC236}">
                <a16:creationId xmlns:a16="http://schemas.microsoft.com/office/drawing/2014/main" id="{E8C62593-3E6E-2BCD-A260-F8D0FDF420F4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 bwMode="auto">
          <a:xfrm>
            <a:off x="1555980" y="6335645"/>
            <a:ext cx="796884" cy="5039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9334245" y="5883813"/>
            <a:ext cx="253339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Bef>
                <a:spcPts val="600"/>
              </a:spcBef>
              <a:spcAft>
                <a:spcPts val="600"/>
              </a:spcAft>
            </a:pPr>
            <a:r>
              <a:rPr lang="fr-FR" sz="1600" b="1" dirty="0"/>
              <a:t>Date de présentation : JJ/MM/AAAA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de pré-dépôt – ANNEXE 1 – ESPR </a:t>
            </a:r>
            <a:r>
              <a:rPr lang="fr-FR" sz="2400"/>
              <a:t>2024 volet1</a:t>
            </a:r>
            <a:br>
              <a:rPr lang="fr-FR" sz="2400"/>
            </a:br>
            <a:r>
              <a:rPr lang="fr-FR" sz="2400"/>
              <a:t>  </a:t>
            </a:r>
            <a:endParaRPr lang="fr-FR" sz="2400" dirty="0"/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9" y="899102"/>
            <a:ext cx="8796510" cy="390525"/>
          </a:xfrm>
        </p:spPr>
        <p:txBody>
          <a:bodyPr/>
          <a:lstStyle/>
          <a:p>
            <a:r>
              <a:rPr lang="fr-FR" b="1" dirty="0"/>
              <a:t>Stratégie :  </a:t>
            </a:r>
            <a:r>
              <a:rPr lang="fr-FR" b="1" dirty="0">
                <a:highlight>
                  <a:srgbClr val="FFFF00"/>
                </a:highlight>
              </a:rPr>
              <a:t>XXX</a:t>
            </a:r>
          </a:p>
          <a:p>
            <a:r>
              <a:rPr lang="fr-FR" b="1" dirty="0"/>
              <a:t>Appel à Projet : </a:t>
            </a:r>
            <a:r>
              <a:rPr lang="fr-FR" b="1" dirty="0">
                <a:highlight>
                  <a:srgbClr val="FFFF00"/>
                </a:highlight>
              </a:rPr>
              <a:t>ESPR – Exploitation forestière et Sylviculture Performantes et Résilientes</a:t>
            </a:r>
            <a:endParaRPr lang="fr-FR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56679"/>
              </p:ext>
            </p:extLst>
          </p:nvPr>
        </p:nvGraphicFramePr>
        <p:xfrm>
          <a:off x="1638299" y="2061136"/>
          <a:ext cx="8724901" cy="3365499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artenaires </a:t>
                      </a:r>
                      <a:br>
                        <a:rPr lang="fr-FR" sz="1050" u="none" strike="noStrike" kern="1200" dirty="0">
                          <a:effectLst/>
                        </a:rPr>
                      </a:br>
                      <a:r>
                        <a:rPr lang="fr-FR" sz="1050" u="none" strike="noStrike" kern="1200" dirty="0">
                          <a:effectLst/>
                        </a:rPr>
                        <a:t> (5 max)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/>
              <a:t>Coûts </a:t>
            </a:r>
            <a:r>
              <a:rPr lang="fr-FR" b="0" i="1" dirty="0"/>
              <a:t>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 idx="4294967295"/>
          </p:nvPr>
        </p:nvSpPr>
        <p:spPr>
          <a:xfrm>
            <a:off x="0" y="274638"/>
            <a:ext cx="10972800" cy="769937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 idx="4294967295"/>
          </p:nvPr>
        </p:nvSpPr>
        <p:spPr>
          <a:xfrm>
            <a:off x="0" y="274638"/>
            <a:ext cx="10972800" cy="769937"/>
          </a:xfrm>
        </p:spPr>
        <p:txBody>
          <a:bodyPr/>
          <a:lstStyle/>
          <a:p>
            <a:r>
              <a:rPr lang="fr-FR" dirty="0"/>
              <a:t>Notice  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idx="4294967295"/>
          </p:nvPr>
        </p:nvSpPr>
        <p:spPr>
          <a:xfrm>
            <a:off x="0" y="1412875"/>
            <a:ext cx="8915400" cy="4362450"/>
          </a:xfrm>
        </p:spPr>
        <p:txBody>
          <a:bodyPr anchor="t"/>
          <a:lstStyle/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Modalités :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orteur doit contacter l’ADEME (via la fonction « contact » sur la page de l’appel à projet) pour organiser une réunion de présentation, à l’adresse indiquée dans le cahier des charges de l’AAP et transmettre cette présentation (format PPT)</a:t>
            </a:r>
          </a:p>
          <a:p>
            <a:pPr algn="just"/>
            <a:endParaRPr lang="fr-FR" sz="120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Contexte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éunion de présentation est </a:t>
            </a:r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obligatoire,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dans un délai minimum de 15 jours avant le dépôt des pièces complètes du 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 plan de cette présentation doit être respecté* . Si des informations sont manquantes au moment de la rédaction de cette annexe, l’indiquer explicitement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fr-FR" sz="1200" b="0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pPr algn="just"/>
            <a:r>
              <a:rPr lang="fr-FR" sz="1200" u="sng" dirty="0">
                <a:latin typeface="Marianne" panose="02000000000000000000" pitchFamily="50" charset="0"/>
                <a:cs typeface="Calibri" panose="020F0502020204030204" pitchFamily="34" charset="0"/>
              </a:rPr>
              <a:t>Objectif :</a:t>
            </a:r>
            <a:r>
              <a:rPr lang="fr-FR" sz="120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Cette présentation doit permettre au porteur de projet de démontrer: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’adéquation de son projet avec les attendus du cahier des charges (chaque page fait référence aux annexes du dossier qui sont concernées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bonne justification du caractère innovant (Etat de l’art en matière d’innovation vis-à-vis du projet proposé, verrous levés pendant le projet)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clarté de son plan projet : principales activités, livrables, jalons décisionnels; et donner de la visibilité sur la phase post-projet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a robustesse de son plan d’affaires : principales projections, sensibilité, </a:t>
            </a:r>
            <a:r>
              <a:rPr lang="fr-FR" sz="1200" b="0" dirty="0" err="1">
                <a:latin typeface="Marianne" panose="02000000000000000000" pitchFamily="50" charset="0"/>
                <a:cs typeface="Calibri" panose="020F0502020204030204" pitchFamily="34" charset="0"/>
              </a:rPr>
              <a:t>etc</a:t>
            </a: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r>
              <a:rPr lang="fr-FR" sz="1200" b="0" dirty="0">
                <a:latin typeface="Marianne" panose="02000000000000000000" pitchFamily="50" charset="0"/>
                <a:cs typeface="Calibri" panose="020F0502020204030204" pitchFamily="34" charset="0"/>
              </a:rPr>
              <a:t>Les indicateurs clés de son projet : environnement, emplois, chiffres d’affaires</a:t>
            </a:r>
          </a:p>
          <a:p>
            <a:endParaRPr lang="fr-FR" sz="1200" b="0" u="sng" dirty="0">
              <a:latin typeface="Marianne" panose="02000000000000000000" pitchFamily="50" charset="0"/>
              <a:cs typeface="Calibri" panose="020F0502020204030204" pitchFamily="34" charset="0"/>
            </a:endParaRPr>
          </a:p>
          <a:p>
            <a:r>
              <a:rPr lang="fr-FR" sz="1200" b="0" u="sng" dirty="0">
                <a:latin typeface="Marianne" panose="02000000000000000000" pitchFamily="50" charset="0"/>
                <a:cs typeface="Calibri" panose="020F0502020204030204" pitchFamily="34" charset="0"/>
              </a:rPr>
              <a:t>Les informations fournies sont confidentielles, non engageantes.</a:t>
            </a:r>
          </a:p>
        </p:txBody>
      </p:sp>
      <p:sp>
        <p:nvSpPr>
          <p:cNvPr id="2" name="Rectangle 1"/>
          <p:cNvSpPr/>
          <p:nvPr/>
        </p:nvSpPr>
        <p:spPr>
          <a:xfrm>
            <a:off x="1638301" y="6143432"/>
            <a:ext cx="7930429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r-FR" sz="1100" i="1" dirty="0"/>
              <a:t>* Des annexes peuvent être ajoutées; idéalement, le support final ne doit pas excéder 20 diapositives</a:t>
            </a:r>
          </a:p>
        </p:txBody>
      </p:sp>
    </p:spTree>
    <p:extLst>
      <p:ext uri="{BB962C8B-B14F-4D97-AF65-F5344CB8AC3E}">
        <p14:creationId xmlns:p14="http://schemas.microsoft.com/office/powerpoint/2010/main" val="2569779760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br>
              <a:rPr lang="fr-FR" altLang="fr-FR" dirty="0"/>
            </a:br>
            <a:r>
              <a:rPr lang="fr-FR" altLang="fr-FR" dirty="0"/>
              <a:t>AAP visé : XX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PIA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tion industrialisation : XXX</a:t>
            </a:r>
          </a:p>
        </p:txBody>
      </p:sp>
      <p:sp>
        <p:nvSpPr>
          <p:cNvPr id="23" name="Rectangle 22"/>
          <p:cNvSpPr/>
          <p:nvPr/>
        </p:nvSpPr>
        <p:spPr>
          <a:xfrm>
            <a:off x="1638300" y="3132835"/>
            <a:ext cx="2984500" cy="2652086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28575" lvl="1" defTabSz="914400">
              <a:spcAft>
                <a:spcPts val="300"/>
              </a:spcAft>
              <a:buClr>
                <a:schemeClr val="tx2"/>
              </a:buClr>
              <a:buSzPct val="130000"/>
              <a:defRPr/>
            </a:pPr>
            <a:r>
              <a:rPr lang="fr-FR" sz="1200" i="1" dirty="0">
                <a:solidFill>
                  <a:schemeClr val="tx1"/>
                </a:solidFill>
                <a:latin typeface="+mj-lt"/>
                <a:ea typeface="ＭＳ Ｐゴシック" charset="-128"/>
              </a:rPr>
              <a:t>Supprimer si nécessaire : 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latin typeface="+mj-lt"/>
              <a:ea typeface="ＭＳ Ｐゴシック" charset="-128"/>
            </a:endParaRP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Nom (</a:t>
            </a: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PE/ME/GE - LP</a:t>
            </a:r>
            <a:r>
              <a:rPr lang="fr-FR" sz="1200" dirty="0">
                <a:solidFill>
                  <a:schemeClr val="tx1"/>
                </a:solidFill>
                <a:latin typeface="+mj-lt"/>
                <a:ea typeface="ＭＳ Ｐゴシック" charset="-128"/>
              </a:rPr>
              <a:t>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sz="1200" dirty="0">
                <a:solidFill>
                  <a:schemeClr val="tx1"/>
                </a:solidFill>
                <a:ea typeface="ＭＳ Ｐゴシック" charset="-128"/>
              </a:rPr>
              <a:t>Nom (PE/ME/GE - LP)</a:t>
            </a:r>
          </a:p>
          <a:p>
            <a:pPr marL="228600" lvl="1" indent="-200025" defTabSz="914400"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sz="1200" dirty="0">
              <a:solidFill>
                <a:schemeClr val="tx1"/>
              </a:solidFill>
              <a:ea typeface="ＭＳ Ｐゴシック" charset="-128"/>
            </a:endParaRPr>
          </a:p>
        </p:txBody>
      </p:sp>
      <p:sp>
        <p:nvSpPr>
          <p:cNvPr id="24" name="ColumnHeader"/>
          <p:cNvSpPr txBox="1">
            <a:spLocks/>
          </p:cNvSpPr>
          <p:nvPr/>
        </p:nvSpPr>
        <p:spPr bwMode="gray">
          <a:xfrm>
            <a:off x="1638300" y="2732724"/>
            <a:ext cx="2984500" cy="40011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Partenaires = demandeurs d’aide  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3770240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/GE - LP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1638301" y="5976456"/>
            <a:ext cx="8913813" cy="348144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latin typeface="Gill Sans MT" pitchFamily="34" charset="0"/>
              </a:rPr>
              <a:t>Date de dépôt visée : JJ/MM/AAAA</a:t>
            </a:r>
          </a:p>
        </p:txBody>
      </p:sp>
      <p:sp>
        <p:nvSpPr>
          <p:cNvPr id="10" name="Rectangle 9"/>
          <p:cNvSpPr/>
          <p:nvPr/>
        </p:nvSpPr>
        <p:spPr>
          <a:xfrm>
            <a:off x="6453974" y="117739"/>
            <a:ext cx="4460260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/GE au sens des textes réglementaires et communautaires EU</a:t>
            </a:r>
          </a:p>
          <a:p>
            <a:pPr algn="r"/>
            <a:r>
              <a:rPr lang="fr-FR" sz="1200" dirty="0">
                <a:ea typeface="ＭＳ Ｐゴシック" charset="-128"/>
              </a:rPr>
              <a:t>LP : Laboratoire public</a:t>
            </a: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endParaRPr lang="fr-FR" b="0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2921536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ractère innovant du projet 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452606" y="1819275"/>
            <a:ext cx="5101094" cy="2909888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 (1/2)</a:t>
            </a:r>
            <a:br>
              <a:rPr lang="fr-FR" dirty="0"/>
            </a:b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ctivités de chacun des partenaires (projets de type </a:t>
            </a:r>
            <a:r>
              <a:rPr lang="fr-FR" b="0" i="1" dirty="0" err="1"/>
              <a:t>monopartenaire</a:t>
            </a:r>
            <a:r>
              <a:rPr lang="fr-FR" b="0" i="1" dirty="0"/>
              <a:t> ou collaboratif avec 5 partenaires financés maximum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 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5. Partenariat (2/2)</a:t>
            </a:r>
            <a:br>
              <a:rPr lang="fr-FR" dirty="0"/>
            </a:br>
            <a:endParaRPr lang="fr-FR" dirty="0"/>
          </a:p>
        </p:txBody>
      </p:sp>
      <p:graphicFrame>
        <p:nvGraphicFramePr>
          <p:cNvPr id="3" name="Tableau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02958812"/>
              </p:ext>
            </p:extLst>
          </p:nvPr>
        </p:nvGraphicFramePr>
        <p:xfrm>
          <a:off x="1638299" y="1447801"/>
          <a:ext cx="8724901" cy="4790650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165642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oordonnateur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Partenaire 1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2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3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Partenaire 4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ationalité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35151173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Statut juridiqu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138812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(préciser année)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7361284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100" dirty="0">
                          <a:effectLst/>
                        </a:rPr>
                        <a:t>Chiffre d’affaire (préciser année)</a:t>
                      </a:r>
                      <a:endParaRPr lang="fr-FR" sz="1400" dirty="0">
                        <a:effectLst/>
                      </a:endParaRPr>
                    </a:p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01273960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Total</a:t>
                      </a:r>
                      <a:r>
                        <a:rPr lang="fr-FR" sz="1100" baseline="0" dirty="0">
                          <a:effectLst/>
                        </a:rPr>
                        <a:t> bilan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82675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Capitaux propres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06999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</a:rPr>
                        <a:t>SIRET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0131498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L’entreprise est-elle une filiale d’une autre entreprise ?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311609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16219364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Chiffre d’affaire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3402395"/>
                  </a:ext>
                </a:extLst>
              </a:tr>
              <a:tr h="366289"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r>
                        <a:rPr lang="fr-FR" sz="1000" dirty="0">
                          <a:effectLst/>
                        </a:rPr>
                        <a:t>Nombre de salariés de la maison mère</a:t>
                      </a: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418551"/>
                  </a:ext>
                </a:extLst>
              </a:tr>
            </a:tbl>
          </a:graphicData>
        </a:graphic>
      </p:graphicFrame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569858" y="329616"/>
            <a:ext cx="4983842" cy="555756"/>
          </a:xfrm>
          <a:prstGeom prst="wedgeRectCallout">
            <a:avLst>
              <a:gd name="adj1" fmla="val -21603"/>
              <a:gd name="adj2" fmla="val 14376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Ajuster les colonnes selon le profil du projet, de </a:t>
            </a:r>
            <a:r>
              <a:rPr lang="fr-FR" b="0" i="1" dirty="0" err="1"/>
              <a:t>monopartenaire</a:t>
            </a:r>
            <a:r>
              <a:rPr lang="fr-FR" b="0" i="1" dirty="0"/>
              <a:t> à 5 partenaires financés (dont le coordonnateur) </a:t>
            </a:r>
          </a:p>
        </p:txBody>
      </p:sp>
    </p:spTree>
    <p:extLst>
      <p:ext uri="{BB962C8B-B14F-4D97-AF65-F5344CB8AC3E}">
        <p14:creationId xmlns:p14="http://schemas.microsoft.com/office/powerpoint/2010/main" val="524006569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D633F31341CE74B80929225D807760F" ma:contentTypeVersion="6" ma:contentTypeDescription="Crée un document." ma:contentTypeScope="" ma:versionID="5d030a96a93cb32ff0c82791ea08eac7">
  <xsd:schema xmlns:xsd="http://www.w3.org/2001/XMLSchema" xmlns:xs="http://www.w3.org/2001/XMLSchema" xmlns:p="http://schemas.microsoft.com/office/2006/metadata/properties" xmlns:ns2="91e6808f-a2f9-47c5-8023-f415b4c2c83a" xmlns:ns3="d2466f4a-9ca3-4b43-9242-92670c7c3426" targetNamespace="http://schemas.microsoft.com/office/2006/metadata/properties" ma:root="true" ma:fieldsID="359a227995556c877673375a0cbaf123" ns2:_="" ns3:_="">
    <xsd:import namespace="91e6808f-a2f9-47c5-8023-f415b4c2c83a"/>
    <xsd:import namespace="d2466f4a-9ca3-4b43-9242-92670c7c342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e6808f-a2f9-47c5-8023-f415b4c2c83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2466f4a-9ca3-4b43-9242-92670c7c342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Partagé avec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Partagé avec dé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B9E957D-588A-41D3-AC95-35B180286384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5EE69819-8827-437C-871C-29D1054616C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3CF6C5D-5C71-401E-9F61-64C68910079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1e6808f-a2f9-47c5-8023-f415b4c2c83a"/>
    <ds:schemaRef ds:uri="d2466f4a-9ca3-4b43-9242-92670c7c342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317</TotalTime>
  <Words>1595</Words>
  <Application>Microsoft Office PowerPoint</Application>
  <PresentationFormat>Grand écran</PresentationFormat>
  <Paragraphs>214</Paragraphs>
  <Slides>15</Slides>
  <Notes>8</Notes>
  <HiddenSlides>0</HiddenSlides>
  <MMClips>0</MMClips>
  <ScaleCrop>false</ScaleCrop>
  <HeadingPairs>
    <vt:vector size="8" baseType="variant">
      <vt:variant>
        <vt:lpstr>Polices utilisées</vt:lpstr>
      </vt:variant>
      <vt:variant>
        <vt:i4>8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5</vt:i4>
      </vt:variant>
    </vt:vector>
  </HeadingPairs>
  <TitlesOfParts>
    <vt:vector size="25" baseType="lpstr">
      <vt:lpstr>ＭＳ Ｐゴシック</vt:lpstr>
      <vt:lpstr>Arial</vt:lpstr>
      <vt:lpstr>Arial1</vt:lpstr>
      <vt:lpstr>Calibri</vt:lpstr>
      <vt:lpstr>Gill Sans MT</vt:lpstr>
      <vt:lpstr>Marianne</vt:lpstr>
      <vt:lpstr>Wingdings</vt:lpstr>
      <vt:lpstr>Wingdings 2</vt:lpstr>
      <vt:lpstr>16_Default Theme</vt:lpstr>
      <vt:lpstr>think-cell Slide</vt:lpstr>
      <vt:lpstr>Présentation de pré-dépôt – ANNEXE 1 – ESPR 2024 volet1   </vt:lpstr>
      <vt:lpstr>Notice  </vt:lpstr>
      <vt:lpstr>Projet XXX AAP visé : XXXXX</vt:lpstr>
      <vt:lpstr>1. Contexte et enjeux du projet </vt:lpstr>
      <vt:lpstr>2. Etat de l’art et verrous à lever  </vt:lpstr>
      <vt:lpstr>3. Solution ou service développé  </vt:lpstr>
      <vt:lpstr>4. Organisation du projet </vt:lpstr>
      <vt:lpstr>5. Partenariat (1/2) </vt:lpstr>
      <vt:lpstr>5. Partenariat (2/2) </vt:lpstr>
      <vt:lpstr>6. Budget global du projet </vt:lpstr>
      <vt:lpstr>7. Marché(s) visé(s) </vt:lpstr>
      <vt:lpstr>8. Modèle économique </vt:lpstr>
      <vt:lpstr>9. Impacts emploi et économiques </vt:lpstr>
      <vt:lpstr>10. Impacts environnementaux </vt:lpstr>
      <vt:lpstr>11. Plan de financement du projet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BOILLOT Pierre</cp:lastModifiedBy>
  <cp:revision>825</cp:revision>
  <cp:lastPrinted>2017-04-19T15:45:38Z</cp:lastPrinted>
  <dcterms:created xsi:type="dcterms:W3CDTF">2015-06-10T16:17:23Z</dcterms:created>
  <dcterms:modified xsi:type="dcterms:W3CDTF">2024-07-04T08:3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D633F31341CE74B80929225D807760F</vt:lpwstr>
  </property>
</Properties>
</file>